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57" r:id="rId4"/>
    <p:sldId id="267" r:id="rId5"/>
    <p:sldId id="266" r:id="rId6"/>
    <p:sldId id="260" r:id="rId7"/>
    <p:sldId id="259" r:id="rId8"/>
    <p:sldId id="265" r:id="rId9"/>
    <p:sldId id="270" r:id="rId10"/>
    <p:sldId id="268" r:id="rId11"/>
    <p:sldId id="269" r:id="rId12"/>
    <p:sldId id="263" r:id="rId13"/>
    <p:sldId id="258" r:id="rId14"/>
    <p:sldId id="271" r:id="rId15"/>
  </p:sldIdLst>
  <p:sldSz cx="12192000" cy="6858000"/>
  <p:notesSz cx="6797675" cy="9926638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7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7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7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andrewhfarmer.com/starter-project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 from data to UI description</a:t>
            </a:r>
          </a:p>
          <a:p>
            <a:endParaRPr lang="en-US" dirty="0"/>
          </a:p>
          <a:p>
            <a:r>
              <a:rPr lang="en-US" dirty="0"/>
              <a:t>React </a:t>
            </a:r>
            <a:r>
              <a:rPr lang="en-US" dirty="0" err="1"/>
              <a:t>Reconsilliation</a:t>
            </a:r>
            <a:endParaRPr lang="en-US" dirty="0"/>
          </a:p>
          <a:p>
            <a:pPr lvl="1"/>
            <a:r>
              <a:rPr lang="da-DK"/>
              <a:t>http://madhukaudantha.blogspot.dk/2015/04/reactjs-and-virtual-dom.html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 of Angular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SP.NET C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14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etting Star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pPr lvl="1"/>
            <a:r>
              <a:rPr lang="en-GB" dirty="0" err="1"/>
              <a:t>Templafy</a:t>
            </a:r>
            <a:r>
              <a:rPr lang="en-GB" dirty="0"/>
              <a:t> story</a:t>
            </a:r>
          </a:p>
          <a:p>
            <a:endParaRPr lang="en-GB" dirty="0"/>
          </a:p>
          <a:p>
            <a:pPr lvl="1"/>
            <a:r>
              <a:rPr lang="en-GB" dirty="0"/>
              <a:t>React</a:t>
            </a:r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r>
              <a:rPr lang="en-GB" dirty="0"/>
              <a:t>Visual Studio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6" name="Picture 8" descr="C:\dev\react-webpack-typescript\_notes\images\reac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7850" y="744180"/>
            <a:ext cx="2281823" cy="2281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1" y="3156017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342" y="2300011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44" y="439376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119" y="449053"/>
            <a:ext cx="2906269" cy="8355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aring practical experiences – Templafy rewrite</a:t>
            </a:r>
          </a:p>
          <a:p>
            <a:endParaRPr lang="da-DK" dirty="0"/>
          </a:p>
          <a:p>
            <a:r>
              <a:rPr lang="da-DK" dirty="0"/>
              <a:t>What I wish I had known when we started</a:t>
            </a:r>
          </a:p>
          <a:p>
            <a:endParaRPr lang="da-DK" dirty="0"/>
          </a:p>
          <a:p>
            <a:r>
              <a:rPr lang="da-DK" dirty="0"/>
              <a:t>Boilerplates are complicated</a:t>
            </a:r>
          </a:p>
          <a:p>
            <a:pPr lvl="1"/>
            <a:r>
              <a:rPr lang="da-DK" dirty="0"/>
              <a:t>Usually have 100+ lines of configuration and 20+ npm packages</a:t>
            </a:r>
          </a:p>
          <a:p>
            <a:pPr lvl="1"/>
            <a:r>
              <a:rPr lang="en-US" dirty="0"/>
              <a:t>Combination of things make it hard to separate and understand the fundamentals</a:t>
            </a:r>
            <a:endParaRPr lang="da-DK" dirty="0"/>
          </a:p>
          <a:p>
            <a:pPr lvl="1"/>
            <a:r>
              <a:rPr lang="da-DK" dirty="0">
                <a:hlinkClick r:id="rId2"/>
              </a:rPr>
              <a:t>http://andrewhfarmer.com/starter-project/</a:t>
            </a:r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736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ow how everything works from the ground up</a:t>
            </a:r>
          </a:p>
          <a:p>
            <a:r>
              <a:rPr lang="da-DK" dirty="0"/>
              <a:t>Each library in isolation to understand them</a:t>
            </a:r>
          </a:p>
          <a:p>
            <a:r>
              <a:rPr lang="da-DK" dirty="0"/>
              <a:t>Common boilerplates usually have 100+ lines of configuration and 20+ npm pack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 Migration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Migration from Knockout.js to React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Basic understanding of React, Webpack and TypeScript</a:t>
            </a:r>
          </a:p>
          <a:p>
            <a:endParaRPr lang="en-US" dirty="0"/>
          </a:p>
          <a:p>
            <a:r>
              <a:rPr lang="en-US" dirty="0"/>
              <a:t>Describe fundamentals </a:t>
            </a:r>
          </a:p>
          <a:p>
            <a:pPr lvl="1"/>
            <a:r>
              <a:rPr lang="da-DK" dirty="0"/>
              <a:t>Changes at a slower rate than API</a:t>
            </a:r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972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8</TotalTime>
  <Words>246</Words>
  <Application>Microsoft Office PowerPoint</Application>
  <PresentationFormat>Widescreen</PresentationFormat>
  <Paragraphs>101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Approach</vt:lpstr>
      <vt:lpstr>Templafy</vt:lpstr>
      <vt:lpstr>Templafy Migration Story</vt:lpstr>
      <vt:lpstr>Goals</vt:lpstr>
      <vt:lpstr>Javascript Versions</vt:lpstr>
      <vt:lpstr>React</vt:lpstr>
      <vt:lpstr>Why not Angular 2</vt:lpstr>
      <vt:lpstr>React Component Lifecycle</vt:lpstr>
      <vt:lpstr>ASP.NET Core</vt:lpstr>
      <vt:lpstr>Getting Start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51</cp:revision>
  <cp:lastPrinted>2016-09-01T12:11:25Z</cp:lastPrinted>
  <dcterms:created xsi:type="dcterms:W3CDTF">2016-09-08T09:03:45Z</dcterms:created>
  <dcterms:modified xsi:type="dcterms:W3CDTF">2017-02-27T12:4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